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2"/>
  </p:notesMasterIdLst>
  <p:handoutMasterIdLst>
    <p:handoutMasterId r:id="rId23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  <p:sldId id="389" r:id="rId20"/>
    <p:sldId id="39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  <p14:sldId id="389"/>
            <p14:sldId id="39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11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79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7.07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7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15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621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 dirty="0"/>
              <a:t> @ 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3162914"/>
            <a:ext cx="1145050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OPEN Questions:</a:t>
            </a:r>
          </a:p>
          <a:p>
            <a:pPr marL="285750" indent="-285750">
              <a:buFontTx/>
              <a:buChar char="-"/>
            </a:pPr>
            <a:r>
              <a:rPr lang="en-US" dirty="0"/>
              <a:t>Label „playbook errors“ manually? Label at all? Semi-supervised? Reinforcement Approach? </a:t>
            </a:r>
          </a:p>
          <a:p>
            <a:pPr marL="285750" indent="-285750">
              <a:buFontTx/>
              <a:buChar char="-"/>
            </a:pPr>
            <a:r>
              <a:rPr lang="en-US" dirty="0"/>
              <a:t>Model? Pre-trained BERT? Which one?</a:t>
            </a:r>
          </a:p>
          <a:p>
            <a:pPr marL="285750" indent="-285750">
              <a:buFontTx/>
              <a:buChar char="-"/>
            </a:pPr>
            <a:r>
              <a:rPr lang="en-US" dirty="0"/>
              <a:t>Classify with confidence? Without?</a:t>
            </a:r>
          </a:p>
          <a:p>
            <a:pPr marL="285750" indent="-285750">
              <a:buFontTx/>
              <a:buChar char="-"/>
            </a:pPr>
            <a:r>
              <a:rPr lang="en-US" dirty="0"/>
              <a:t>Classify &amp; train by error cluster? By error cluster + error type? </a:t>
            </a:r>
          </a:p>
          <a:p>
            <a:pPr marL="285750" indent="-285750">
              <a:buFontTx/>
              <a:buChar char="-"/>
            </a:pPr>
            <a:r>
              <a:rPr lang="en-US" dirty="0"/>
              <a:t>How to access and label all logs? Download all &amp; run script? Online? </a:t>
            </a:r>
          </a:p>
          <a:p>
            <a:pPr marL="285750" indent="-285750">
              <a:buFontTx/>
              <a:buChar char="-"/>
            </a:pPr>
            <a:r>
              <a:rPr lang="en-US" dirty="0"/>
              <a:t>Where to store dataset?</a:t>
            </a:r>
          </a:p>
          <a:p>
            <a:pPr marL="285750" indent="-285750">
              <a:buFontTx/>
              <a:buChar char="-"/>
            </a:pPr>
            <a:r>
              <a:rPr lang="en-US" dirty="0"/>
              <a:t>Performance optimization for preprocessing and labeling scri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32335-6166-C502-4D1C-CB46E7F4BF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06" t="5979" b="-206"/>
          <a:stretch/>
        </p:blipFill>
        <p:spPr>
          <a:xfrm>
            <a:off x="4728754" y="249149"/>
            <a:ext cx="7315199" cy="341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6A35A5-8B20-C810-7C26-A5B9F979AE66}"/>
              </a:ext>
            </a:extLst>
          </p:cNvPr>
          <p:cNvSpPr txBox="1"/>
          <p:nvPr/>
        </p:nvSpPr>
        <p:spPr>
          <a:xfrm>
            <a:off x="488947" y="1534149"/>
            <a:ext cx="414528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PROGRESS:</a:t>
            </a:r>
          </a:p>
          <a:p>
            <a:pPr marL="285750" indent="-285750">
              <a:buFontTx/>
              <a:buChar char="-"/>
            </a:pPr>
            <a:r>
              <a:rPr lang="en-US" dirty="0"/>
              <a:t>There are labels! Figured out RegEx matching (some exceptions, see next slide)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193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5.07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65FBB5-AE60-E0C4-4561-7293EE7C3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46061"/>
            <a:ext cx="12192000" cy="371421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340B407-9A88-1131-CD37-0B47F4B7E45A}"/>
              </a:ext>
            </a:extLst>
          </p:cNvPr>
          <p:cNvCxnSpPr/>
          <p:nvPr/>
        </p:nvCxnSpPr>
        <p:spPr>
          <a:xfrm flipH="1">
            <a:off x="3108960" y="1308987"/>
            <a:ext cx="1123406" cy="824613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4FF06CC-464B-D69F-C5CB-7646FF7FCEB7}"/>
              </a:ext>
            </a:extLst>
          </p:cNvPr>
          <p:cNvCxnSpPr>
            <a:cxnSpLocks/>
          </p:cNvCxnSpPr>
          <p:nvPr/>
        </p:nvCxnSpPr>
        <p:spPr>
          <a:xfrm flipV="1">
            <a:off x="1767840" y="3692435"/>
            <a:ext cx="0" cy="2039457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0BD0DCD-F904-1420-165F-3602DD313B16}"/>
              </a:ext>
            </a:extLst>
          </p:cNvPr>
          <p:cNvSpPr txBox="1"/>
          <p:nvPr/>
        </p:nvSpPr>
        <p:spPr>
          <a:xfrm>
            <a:off x="4293326" y="1149531"/>
            <a:ext cx="5765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nu“ Pattern from error_patterns.p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B8D62A-CE0D-4C95-370C-EC4FECEAA14F}"/>
              </a:ext>
            </a:extLst>
          </p:cNvPr>
          <p:cNvSpPr txBox="1"/>
          <p:nvPr/>
        </p:nvSpPr>
        <p:spPr>
          <a:xfrm>
            <a:off x="1158240" y="5779811"/>
            <a:ext cx="59392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evant line from log that was classified as “Compiler Error (gnu)” in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asticsearch</a:t>
            </a:r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73815CC-202D-1A66-E361-0862C053C25C}"/>
              </a:ext>
            </a:extLst>
          </p:cNvPr>
          <p:cNvCxnSpPr>
            <a:cxnSpLocks/>
          </p:cNvCxnSpPr>
          <p:nvPr/>
        </p:nvCxnSpPr>
        <p:spPr>
          <a:xfrm flipV="1">
            <a:off x="8560526" y="5496880"/>
            <a:ext cx="104503" cy="4214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67EB6B2-E203-A7A3-BE75-76D5DC707E2C}"/>
              </a:ext>
            </a:extLst>
          </p:cNvPr>
          <p:cNvSpPr txBox="1"/>
          <p:nvPr/>
        </p:nvSpPr>
        <p:spPr>
          <a:xfrm>
            <a:off x="8360228" y="5918310"/>
            <a:ext cx="302247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Why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oe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rgbClr val="FF0000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DE" sz="1800" kern="1200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not match? </a:t>
            </a:r>
            <a:endParaRPr lang="en-US" sz="1800" kern="1200" dirty="0" err="1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511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91</Words>
  <Application>Microsoft Office PowerPoint</Application>
  <PresentationFormat>Widescreen</PresentationFormat>
  <Paragraphs>211</Paragraphs>
  <Slides>1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  <vt:lpstr>Notes BA-Sync – 25.07.2024</vt:lpstr>
      <vt:lpstr>Notes BA-Sync – 25.07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</cp:lastModifiedBy>
  <cp:revision>82</cp:revision>
  <dcterms:created xsi:type="dcterms:W3CDTF">2024-05-08T11:16:28Z</dcterms:created>
  <dcterms:modified xsi:type="dcterms:W3CDTF">2024-07-17T09:25:39Z</dcterms:modified>
</cp:coreProperties>
</file>